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457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9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D209C253-C2C2-4FD7-B654-6BAB760BE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D209C253-C2C2-4FD7-B654-6BAB760BE7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6D24809F-EB50-41D8-AEBC-0CEED45F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/>
              <a:t>La bonne quantité de colle à chaque fois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E68B9843-ED0C-4B29-89CF-691E3EED0E1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02475"/>
            <a:ext cx="7997825" cy="287032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Rouleau à colle gravé - </a:t>
            </a:r>
            <a:r>
              <a:rPr lang="en-US" altLang="fr-FR" dirty="0"/>
              <a:t>pack "a"</a:t>
            </a:r>
            <a:endParaRPr lang="fr-FR" altLang="fr-FR" dirty="0">
              <a:solidFill>
                <a:srgbClr val="000000"/>
              </a:solidFill>
            </a:endParaRP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C373ECE4-63EB-491E-A8B3-E75477ACCB70}"/>
              </a:ext>
            </a:extLst>
          </p:cNvPr>
          <p:cNvSpPr txBox="1">
            <a:spLocks/>
          </p:cNvSpPr>
          <p:nvPr/>
        </p:nvSpPr>
        <p:spPr bwMode="auto">
          <a:xfrm>
            <a:off x="647700" y="5911779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eur :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Rendement, </a:t>
            </a:r>
            <a:r>
              <a:rPr lang="de-CH" altLang="fr-FR" sz="800" dirty="0">
                <a:solidFill>
                  <a:srgbClr val="000000"/>
                </a:solidFill>
              </a:rPr>
              <a:t>Maintenance, </a:t>
            </a:r>
            <a:r>
              <a:rPr lang="de-CH" altLang="fr-FR" sz="800" dirty="0" err="1">
                <a:solidFill>
                  <a:srgbClr val="000000"/>
                </a:solidFill>
              </a:rPr>
              <a:t>Obsolescence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Équipements</a:t>
            </a:r>
            <a:r>
              <a:rPr lang="de-CH" altLang="fr-FR" sz="800" dirty="0">
                <a:solidFill>
                  <a:srgbClr val="000000"/>
                </a:solidFill>
              </a:rPr>
              <a:t> : </a:t>
            </a:r>
            <a:r>
              <a:rPr lang="en-US" altLang="it-IT" sz="800" kern="0" dirty="0" err="1">
                <a:solidFill>
                  <a:srgbClr val="000000"/>
                </a:solidFill>
                <a:ea typeface="ＭＳ Ｐゴシック"/>
              </a:rPr>
              <a:t>Labellers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Code </a:t>
            </a:r>
            <a:r>
              <a:rPr lang="de-CH" altLang="fr-FR" sz="800" dirty="0" err="1">
                <a:solidFill>
                  <a:srgbClr val="000000"/>
                </a:solidFill>
              </a:rPr>
              <a:t>catalogue</a:t>
            </a:r>
            <a:r>
              <a:rPr lang="de-CH" altLang="fr-FR" sz="800" dirty="0">
                <a:solidFill>
                  <a:srgbClr val="000000"/>
                </a:solidFill>
              </a:rPr>
              <a:t> : AA27a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E8E720D2-D484-4D17-8150-27622ECFD9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BE84DD73-081B-43DA-B32E-996D3F033CE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77087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C478C1C6-5417-4FB8-B1EF-901318DDFD0E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EUR ET AVANTAGE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9DA2E574-538D-4835-995B-EF245285B5CA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EFE74085-CE6F-4F5A-896F-66E4206D0EA3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8FF8F319-D1BB-43BF-B2E0-DC4305EF01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3713F33-95BB-40AC-B4F7-CEE1706B75BE}"/>
              </a:ext>
            </a:extLst>
          </p:cNvPr>
          <p:cNvSpPr/>
          <p:nvPr/>
        </p:nvSpPr>
        <p:spPr>
          <a:xfrm>
            <a:off x="633412" y="2095327"/>
            <a:ext cx="3890963" cy="365176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ssurez la continuité de la production en remplaçant les composants obsolètes (les rouleaux de chrome ne sont plus fabriqués) par des tambours distributeurs de colle de dernière technologi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Empêche les éclaboussures et les filaments de colle. Effet garantis par la forme de «niches»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Garantir la bonne quantité de colle appliquée sur chaque étiquett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Meilleur contrôle de la quantité de colle appliquée: si plus de colle est nécessaire, il suffit d’augmenter le volume des niches et la surface des blocs d’étiquette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éduisez les coûts de maintenance et les temps d'arrêt des machines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e remplacement des tambours distributeurs de colle passe de 9000 h avec la version actuelle à 36000 h avec la nouvelle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a durée de vie du racleur colle a doublé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éduction du coût des pièces de rechange (en moyenne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5F58E7-8B5D-470D-95C0-0E52B8E20593}"/>
              </a:ext>
            </a:extLst>
          </p:cNvPr>
          <p:cNvSpPr/>
          <p:nvPr/>
        </p:nvSpPr>
        <p:spPr>
          <a:xfrm>
            <a:off x="4735512" y="2095326"/>
            <a:ext cx="3890963" cy="188858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La technologie existante des rouleaux de colle étant obsolète, Sidel propose un nouvel assemblage pour fournir la bonne quantité de colle sur l'étiquett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Barre de colle à réglage automatique avec système de grattoir intégré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Nouveau concept de transfert de colle à température contrôlée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Niches créées avec une découpe lase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Le pack contient les pièces non assemblées nécessaires à l'installation du nouveau rouleau à colle.</a:t>
            </a: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24" name="Immagine 8">
            <a:extLst>
              <a:ext uri="{FF2B5EF4-FFF2-40B4-BE49-F238E27FC236}">
                <a16:creationId xmlns:a16="http://schemas.microsoft.com/office/drawing/2014/main" id="{23BBABC2-6795-470A-ACDB-7C2831F67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5646" r="28191" b="22336"/>
          <a:stretch>
            <a:fillRect/>
          </a:stretch>
        </p:blipFill>
        <p:spPr bwMode="auto">
          <a:xfrm>
            <a:off x="4846411" y="4319169"/>
            <a:ext cx="1054910" cy="137498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magine 9">
            <a:extLst>
              <a:ext uri="{FF2B5EF4-FFF2-40B4-BE49-F238E27FC236}">
                <a16:creationId xmlns:a16="http://schemas.microsoft.com/office/drawing/2014/main" id="{25AAF2E1-0A6C-44EF-A546-04FDDAE75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59" t="7422" r="32780" b="11723"/>
          <a:stretch>
            <a:fillRect/>
          </a:stretch>
        </p:blipFill>
        <p:spPr bwMode="auto">
          <a:xfrm>
            <a:off x="7868730" y="4023083"/>
            <a:ext cx="640270" cy="16328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magine 10">
            <a:extLst>
              <a:ext uri="{FF2B5EF4-FFF2-40B4-BE49-F238E27FC236}">
                <a16:creationId xmlns:a16="http://schemas.microsoft.com/office/drawing/2014/main" id="{4A9E47C7-DC7A-4C50-8415-10DEFAACB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4" t="16824" r="21729" b="18951"/>
          <a:stretch>
            <a:fillRect/>
          </a:stretch>
        </p:blipFill>
        <p:spPr bwMode="auto">
          <a:xfrm>
            <a:off x="6123394" y="4242878"/>
            <a:ext cx="895902" cy="92957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magine 12">
            <a:extLst>
              <a:ext uri="{FF2B5EF4-FFF2-40B4-BE49-F238E27FC236}">
                <a16:creationId xmlns:a16="http://schemas.microsoft.com/office/drawing/2014/main" id="{978A6CFF-1E2C-42AB-B231-018CDA1DD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t="16692" r="21127" b="17876"/>
          <a:stretch>
            <a:fillRect/>
          </a:stretch>
        </p:blipFill>
        <p:spPr bwMode="auto">
          <a:xfrm>
            <a:off x="7154400" y="4868606"/>
            <a:ext cx="492257" cy="80355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29FD6B-2A8E-45F5-8549-1812974F33C0}">
  <ds:schemaRefs>
    <ds:schemaRef ds:uri="http://schemas.microsoft.com/office/2006/documentManagement/types"/>
    <ds:schemaRef ds:uri="434e2f32-19b3-47cb-9d2c-18393d983ab8"/>
    <ds:schemaRef ds:uri="http://purl.org/dc/dcmitype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a43ef570-d230-47fc-9dce-81ae025d238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2</TotalTime>
  <Words>234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La bonne quantité de colle à chaque foi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87</cp:revision>
  <dcterms:created xsi:type="dcterms:W3CDTF">2018-02-10T17:04:39Z</dcterms:created>
  <dcterms:modified xsi:type="dcterms:W3CDTF">2021-04-20T13:1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11:03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